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14"/>
  </p:notesMasterIdLst>
  <p:handoutMasterIdLst>
    <p:handoutMasterId r:id="rId15"/>
  </p:handoutMasterIdLst>
  <p:sldIdLst>
    <p:sldId id="1349" r:id="rId2"/>
    <p:sldId id="1403" r:id="rId3"/>
    <p:sldId id="1395" r:id="rId4"/>
    <p:sldId id="1404" r:id="rId5"/>
    <p:sldId id="1416" r:id="rId6"/>
    <p:sldId id="1410" r:id="rId7"/>
    <p:sldId id="1411" r:id="rId8"/>
    <p:sldId id="1412" r:id="rId9"/>
    <p:sldId id="1413" r:id="rId10"/>
    <p:sldId id="1414" r:id="rId11"/>
    <p:sldId id="1415" r:id="rId12"/>
    <p:sldId id="1417" r:id="rId13"/>
  </p:sldIdLst>
  <p:sldSz cx="9906000" cy="6858000" type="A4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87" userDrawn="1">
          <p15:clr>
            <a:srgbClr val="A4A3A4"/>
          </p15:clr>
        </p15:guide>
        <p15:guide id="2" orient="horz" pos="899">
          <p15:clr>
            <a:srgbClr val="A4A3A4"/>
          </p15:clr>
        </p15:guide>
        <p15:guide id="3" orient="horz" pos="3848">
          <p15:clr>
            <a:srgbClr val="A4A3A4"/>
          </p15:clr>
        </p15:guide>
        <p15:guide id="4" orient="horz" pos="346">
          <p15:clr>
            <a:srgbClr val="A4A3A4"/>
          </p15:clr>
        </p15:guide>
        <p15:guide id="5" orient="horz" pos="531">
          <p15:clr>
            <a:srgbClr val="A4A3A4"/>
          </p15:clr>
        </p15:guide>
        <p15:guide id="6" orient="horz" pos="1452">
          <p15:clr>
            <a:srgbClr val="A4A3A4"/>
          </p15:clr>
        </p15:guide>
        <p15:guide id="7" pos="180">
          <p15:clr>
            <a:srgbClr val="A4A3A4"/>
          </p15:clr>
        </p15:guide>
        <p15:guide id="8" pos="3674">
          <p15:clr>
            <a:srgbClr val="A4A3A4"/>
          </p15:clr>
        </p15:guide>
        <p15:guide id="9" pos="1283" userDrawn="1">
          <p15:clr>
            <a:srgbClr val="A4A3A4"/>
          </p15:clr>
        </p15:guide>
        <p15:guide id="10" pos="2200">
          <p15:clr>
            <a:srgbClr val="A4A3A4"/>
          </p15:clr>
        </p15:guide>
        <p15:guide id="11" pos="6069">
          <p15:clr>
            <a:srgbClr val="A4A3A4"/>
          </p15:clr>
        </p15:guide>
        <p15:guide id="12" pos="357">
          <p15:clr>
            <a:srgbClr val="A4A3A4"/>
          </p15:clr>
        </p15:guide>
        <p15:guide id="13" pos="7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Тарасов Вадим Александрович" initials="ТВА" lastIdx="5" clrIdx="1">
    <p:extLst>
      <p:ext uri="{19B8F6BF-5375-455C-9EA6-DF929625EA0E}">
        <p15:presenceInfo xmlns:p15="http://schemas.microsoft.com/office/powerpoint/2012/main" xmlns="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C7E7"/>
    <a:srgbClr val="E7F5FE"/>
    <a:srgbClr val="FF0000"/>
    <a:srgbClr val="E11F1F"/>
    <a:srgbClr val="841212"/>
    <a:srgbClr val="00A1DE"/>
    <a:srgbClr val="575757"/>
    <a:srgbClr val="3C8A2E"/>
    <a:srgbClr val="DCDCDC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107" d="100"/>
          <a:sy n="107" d="100"/>
        </p:scale>
        <p:origin x="-1200" y="-96"/>
      </p:cViewPr>
      <p:guideLst>
        <p:guide orient="horz" pos="2387"/>
        <p:guide orient="horz" pos="899"/>
        <p:guide orient="horz" pos="3848"/>
        <p:guide orient="horz" pos="346"/>
        <p:guide orient="horz" pos="531"/>
        <p:guide orient="horz" pos="1452"/>
        <p:guide pos="180"/>
        <p:guide pos="3674"/>
        <p:guide pos="1283"/>
        <p:guide pos="2200"/>
        <p:guide pos="6069"/>
        <p:guide pos="357"/>
        <p:guide pos="7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2" tIns="31319" rIns="62632" bIns="31319" numCol="1" anchor="t" anchorCtr="0" compatLnSpc="1">
            <a:prstTxWarp prst="textNoShape">
              <a:avLst/>
            </a:prstTxWarp>
          </a:bodyPr>
          <a:lstStyle>
            <a:lvl1pPr defTabSz="62688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3" y="1"/>
            <a:ext cx="2945033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2" tIns="31319" rIns="62632" bIns="31319" numCol="1" anchor="t" anchorCtr="0" compatLnSpc="1">
            <a:prstTxWarp prst="textNoShape">
              <a:avLst/>
            </a:prstTxWarp>
          </a:bodyPr>
          <a:lstStyle>
            <a:lvl1pPr algn="r" defTabSz="626887">
              <a:defRPr sz="800"/>
            </a:lvl1pPr>
          </a:lstStyle>
          <a:p>
            <a:fld id="{42B58284-BD55-477D-829B-0D8B66B41141}" type="datetimeFigureOut">
              <a:rPr lang="en-US"/>
              <a:pPr/>
              <a:t>4/21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5"/>
            <a:ext cx="2946598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2" tIns="31319" rIns="62632" bIns="31319" numCol="1" anchor="b" anchorCtr="0" compatLnSpc="1">
            <a:prstTxWarp prst="textNoShape">
              <a:avLst/>
            </a:prstTxWarp>
          </a:bodyPr>
          <a:lstStyle>
            <a:lvl1pPr defTabSz="626887">
              <a:defRPr sz="800"/>
            </a:lvl1pPr>
          </a:lstStyle>
          <a:p>
            <a:r>
              <a:rPr lang="en-GB" smtClean="0"/>
              <a:t>1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3" y="9428735"/>
            <a:ext cx="2945033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2" tIns="31319" rIns="62632" bIns="31319" numCol="1" anchor="b" anchorCtr="0" compatLnSpc="1">
            <a:prstTxWarp prst="textNoShape">
              <a:avLst/>
            </a:prstTxWarp>
          </a:bodyPr>
          <a:lstStyle>
            <a:lvl1pPr algn="r" defTabSz="62688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91" tIns="47744" rIns="95491" bIns="47744" numCol="1" anchor="t" anchorCtr="0" compatLnSpc="1">
            <a:prstTxWarp prst="textNoShape">
              <a:avLst/>
            </a:prstTxWarp>
          </a:bodyPr>
          <a:lstStyle>
            <a:lvl1pPr defTabSz="62688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3" y="1"/>
            <a:ext cx="2945033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91" tIns="47744" rIns="95491" bIns="47744" numCol="1" anchor="t" anchorCtr="0" compatLnSpc="1">
            <a:prstTxWarp prst="textNoShape">
              <a:avLst/>
            </a:prstTxWarp>
          </a:bodyPr>
          <a:lstStyle>
            <a:lvl1pPr algn="r" defTabSz="62688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4/21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06" tIns="68809" rIns="137606" bIns="68809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9" y="4715163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91" tIns="47744" rIns="95491" bIns="477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5"/>
            <a:ext cx="2946598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91" tIns="47744" rIns="95491" bIns="47744" numCol="1" anchor="b" anchorCtr="0" compatLnSpc="1">
            <a:prstTxWarp prst="textNoShape">
              <a:avLst/>
            </a:prstTxWarp>
          </a:bodyPr>
          <a:lstStyle>
            <a:lvl1pPr defTabSz="626887">
              <a:defRPr sz="1100">
                <a:latin typeface="Calibri" pitchFamily="34" charset="0"/>
              </a:defRPr>
            </a:lvl1pPr>
          </a:lstStyle>
          <a:p>
            <a:r>
              <a:rPr lang="en-GB" smtClean="0"/>
              <a:t>1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3" y="9428735"/>
            <a:ext cx="2945033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91" tIns="47744" rIns="95491" bIns="47744" numCol="1" anchor="b" anchorCtr="0" compatLnSpc="1">
            <a:prstTxWarp prst="textNoShape">
              <a:avLst/>
            </a:prstTxWarp>
          </a:bodyPr>
          <a:lstStyle>
            <a:lvl1pPr algn="r" defTabSz="62688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 userDrawn="1"/>
        </p:nvGrpSpPr>
        <p:grpSpPr>
          <a:xfrm>
            <a:off x="-2679" y="2053136"/>
            <a:ext cx="9908679" cy="3560932"/>
            <a:chOff x="-2678" y="915566"/>
            <a:chExt cx="9144000" cy="3286125"/>
          </a:xfrm>
        </p:grpSpPr>
        <p:sp>
          <p:nvSpPr>
            <p:cNvPr id="4" name="Прямоугольник 3"/>
            <p:cNvSpPr/>
            <p:nvPr userDrawn="1"/>
          </p:nvSpPr>
          <p:spPr>
            <a:xfrm>
              <a:off x="-2678" y="1058441"/>
              <a:ext cx="9144000" cy="3000375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" name="Прямоугольник 4"/>
            <p:cNvSpPr/>
            <p:nvPr userDrawn="1"/>
          </p:nvSpPr>
          <p:spPr>
            <a:xfrm>
              <a:off x="1997572" y="4058816"/>
              <a:ext cx="5143500" cy="1428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" name="Прямоугольник 5"/>
            <p:cNvSpPr/>
            <p:nvPr userDrawn="1"/>
          </p:nvSpPr>
          <p:spPr>
            <a:xfrm>
              <a:off x="1997572" y="915566"/>
              <a:ext cx="5143500" cy="14287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021556" y="2979076"/>
            <a:ext cx="7862888" cy="170905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24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pPr marL="0" lvl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197" y="82064"/>
            <a:ext cx="5162718" cy="1290644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9329677" y="6554102"/>
            <a:ext cx="304861" cy="14424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859536" rtl="0" eaLnBrk="1" fontAlgn="base" latinLnBrk="0" hangingPunct="1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859536" rtl="0" eaLnBrk="1" fontAlgn="base" latinLnBrk="0" hangingPunct="1">
                <a:lnSpc>
                  <a:spcPts val="1128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771651" y="83875"/>
            <a:ext cx="7862888" cy="50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36000" rIns="0" bIns="36000" rtlCol="0" anchor="ctr">
            <a:noAutofit/>
          </a:bodyPr>
          <a:lstStyle>
            <a:lvl1pPr>
              <a:lnSpc>
                <a:spcPts val="2000"/>
              </a:lnSpc>
              <a:spcAft>
                <a:spcPts val="300"/>
              </a:spcAft>
              <a:defRPr lang="en-US" sz="20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914400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6226" y="909638"/>
            <a:ext cx="9358312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191008" indent="0">
              <a:buNone/>
              <a:defRPr>
                <a:solidFill>
                  <a:schemeClr val="tx1"/>
                </a:solidFill>
              </a:defRPr>
            </a:lvl3pPr>
            <a:lvl4pPr marL="374555" indent="0">
              <a:buNone/>
              <a:defRPr>
                <a:solidFill>
                  <a:schemeClr val="tx1"/>
                </a:solidFill>
              </a:defRPr>
            </a:lvl4pPr>
            <a:lvl5pPr marL="565562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76226" y="101197"/>
            <a:ext cx="1449288" cy="665020"/>
          </a:xfrm>
          <a:prstGeom prst="rect">
            <a:avLst/>
          </a:prstGeom>
          <a:solidFill>
            <a:srgbClr val="E7F5FE"/>
          </a:solidFill>
          <a:ln w="25400" cap="flat" cmpd="sng" algn="ctr">
            <a:noFill/>
            <a:prstDash val="sysDash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О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КОРПОРАЦИЯ «МСП»</a:t>
            </a:r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1771650" y="641527"/>
            <a:ext cx="7862888" cy="1246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2pPr>
      <a:lvl3pPr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3pPr>
      <a:lvl4pPr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4pPr>
      <a:lvl5pPr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5pPr>
      <a:lvl6pPr marL="429768"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6pPr>
      <a:lvl7pPr marL="859536"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7pPr>
      <a:lvl8pPr marL="1289304"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8pPr>
      <a:lvl9pPr marL="1719072" algn="l" defTabSz="958025" rtl="0" fontAlgn="base">
        <a:lnSpc>
          <a:spcPts val="3196"/>
        </a:lnSpc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Arial" pitchFamily="34" charset="0"/>
        </a:defRPr>
      </a:lvl9pPr>
    </p:titleStyle>
    <p:bodyStyle>
      <a:lvl1pPr marL="359633" indent="-35963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191008" indent="-191008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374555" indent="-183547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1000">
          <a:solidFill>
            <a:schemeClr val="tx1"/>
          </a:solidFill>
          <a:latin typeface="+mn-lt"/>
        </a:defRPr>
      </a:lvl3pPr>
      <a:lvl4pPr marL="565563" indent="-191008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•"/>
        <a:defRPr sz="900">
          <a:solidFill>
            <a:schemeClr val="tx1"/>
          </a:solidFill>
          <a:latin typeface="+mn-lt"/>
        </a:defRPr>
      </a:lvl4pPr>
      <a:lvl5pPr marL="746125" indent="-18056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900">
          <a:solidFill>
            <a:schemeClr val="tx1"/>
          </a:solidFill>
          <a:latin typeface="+mn-lt"/>
        </a:defRPr>
      </a:lvl5pPr>
      <a:lvl6pPr marL="1175893" indent="-18056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900">
          <a:solidFill>
            <a:schemeClr val="tx1"/>
          </a:solidFill>
          <a:latin typeface="+mn-lt"/>
        </a:defRPr>
      </a:lvl6pPr>
      <a:lvl7pPr marL="1605661" indent="-18056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900">
          <a:solidFill>
            <a:schemeClr val="tx1"/>
          </a:solidFill>
          <a:latin typeface="+mn-lt"/>
        </a:defRPr>
      </a:lvl7pPr>
      <a:lvl8pPr marL="2035429" indent="-18056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900">
          <a:solidFill>
            <a:schemeClr val="tx1"/>
          </a:solidFill>
          <a:latin typeface="+mn-lt"/>
        </a:defRPr>
      </a:lvl8pPr>
      <a:lvl9pPr marL="2465197" indent="-180563" algn="l" defTabSz="958025" rtl="0" fontAlgn="base">
        <a:spcBef>
          <a:spcPct val="0"/>
        </a:spcBef>
        <a:spcAft>
          <a:spcPts val="282"/>
        </a:spcAft>
        <a:buFont typeface="Arial" pitchFamily="34" charset="0"/>
        <a:buChar char="‒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68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304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72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840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608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376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144" algn="l" defTabSz="85953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5953" y="2620666"/>
            <a:ext cx="9514095" cy="2752445"/>
          </a:xfrm>
        </p:spPr>
        <p:txBody>
          <a:bodyPr anchor="ctr"/>
          <a:lstStyle/>
          <a:p>
            <a:pPr>
              <a:spcBef>
                <a:spcPts val="1200"/>
              </a:spcBef>
            </a:pPr>
            <a:r>
              <a:rPr lang="ru-RU" sz="2800" dirty="0" smtClean="0"/>
              <a:t>Технологические требования</a:t>
            </a: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/>
              <a:t> предоставления независимых гарантий,</a:t>
            </a:r>
            <a:br>
              <a:rPr lang="ru-RU" sz="2800" dirty="0"/>
            </a:br>
            <a:r>
              <a:rPr lang="ru-RU" sz="2800" dirty="0"/>
              <a:t>банковских гарантий и поручительств</a:t>
            </a:r>
            <a:br>
              <a:rPr lang="ru-RU" sz="2800" dirty="0"/>
            </a:br>
            <a:r>
              <a:rPr lang="ru-RU" sz="2800" dirty="0"/>
              <a:t> в рамках Национальной гарантийной системы (НГС)</a:t>
            </a:r>
            <a:br>
              <a:rPr lang="ru-RU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ru-RU" sz="2800" b="0" i="1" dirty="0" smtClean="0"/>
              <a:t/>
            </a:r>
            <a:br>
              <a:rPr lang="ru-RU" sz="2800" b="0" i="1" dirty="0" smtClean="0"/>
            </a:br>
            <a:r>
              <a:rPr lang="ru-RU" sz="2000" b="0" dirty="0" smtClean="0"/>
              <a:t>Апрель 2016</a:t>
            </a:r>
            <a:endParaRPr lang="ru-RU" sz="2000" b="0" i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2875" y="54974"/>
            <a:ext cx="3169106" cy="1267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842963"/>
            <a:ext cx="9348789" cy="364723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1.4.1. Порядок </a:t>
            </a:r>
            <a:r>
              <a:rPr lang="ru-RU" sz="1600" dirty="0"/>
              <a:t>взаимодействия участников НГС в рамках приема и обработки </a:t>
            </a:r>
            <a:r>
              <a:rPr lang="ru-RU" sz="1600" dirty="0" smtClean="0"/>
              <a:t>заявок </a:t>
            </a:r>
            <a:br>
              <a:rPr lang="ru-RU" sz="1600" dirty="0" smtClean="0"/>
            </a:br>
            <a:r>
              <a:rPr lang="ru-RU" sz="1600" b="0" dirty="0" smtClean="0"/>
              <a:t>Сегмент «Средний» </a:t>
            </a:r>
            <a:r>
              <a:rPr lang="en-US" sz="1600" b="0" dirty="0" smtClean="0"/>
              <a:t>| </a:t>
            </a:r>
            <a:r>
              <a:rPr lang="ru-RU" sz="1600" b="0" dirty="0" smtClean="0"/>
              <a:t>Обработка заявки в рамках оферты. Часть 1/2</a:t>
            </a:r>
            <a:endParaRPr lang="ru-RU" sz="1600" b="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510032" y="6524830"/>
            <a:ext cx="180296" cy="18757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4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8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1.4.2. Порядок </a:t>
            </a:r>
            <a:r>
              <a:rPr lang="ru-RU" sz="1600" dirty="0"/>
              <a:t>взаимодействия участников НГС в рамках приема и обработки </a:t>
            </a:r>
            <a:r>
              <a:rPr lang="ru-RU" sz="1600" dirty="0" smtClean="0"/>
              <a:t>заявок </a:t>
            </a:r>
            <a:br>
              <a:rPr lang="ru-RU" sz="1600" dirty="0" smtClean="0"/>
            </a:br>
            <a:r>
              <a:rPr lang="ru-RU" sz="1600" b="0" dirty="0" smtClean="0"/>
              <a:t>Сегмент «Средний» </a:t>
            </a:r>
            <a:r>
              <a:rPr lang="en-US" sz="1600" b="0" dirty="0" smtClean="0"/>
              <a:t>|</a:t>
            </a:r>
            <a:r>
              <a:rPr lang="ru-RU" sz="1600" b="0" dirty="0" smtClean="0"/>
              <a:t> Обработка заявки в рамках оферты. Часть 2/2</a:t>
            </a:r>
            <a:endParaRPr lang="ru-RU" sz="1600" b="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842963"/>
            <a:ext cx="8172450" cy="553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87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Матрица </a:t>
            </a:r>
            <a:r>
              <a:rPr lang="ru-RU" dirty="0"/>
              <a:t>подбора гарантийных продуктов </a:t>
            </a:r>
            <a:r>
              <a:rPr lang="ru-RU" dirty="0" smtClean="0"/>
              <a:t>Корпорации </a:t>
            </a:r>
            <a:r>
              <a:rPr lang="ru-RU" dirty="0"/>
              <a:t>и </a:t>
            </a:r>
            <a:r>
              <a:rPr lang="ru-RU" dirty="0" smtClean="0"/>
              <a:t>МСП Банка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76226" y="905542"/>
          <a:ext cx="9358311" cy="55948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002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xmlns="" val="2815110601"/>
                    </a:ext>
                  </a:extLst>
                </a:gridCol>
                <a:gridCol w="15049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73843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93685">
                <a:tc>
                  <a:txBody>
                    <a:bodyPr/>
                    <a:lstStyle/>
                    <a:p>
                      <a:pPr algn="l"/>
                      <a:endParaRPr lang="ru-RU" sz="700" dirty="0">
                        <a:latin typeface="+mj-lt"/>
                      </a:endParaRPr>
                    </a:p>
                  </a:txBody>
                  <a:tcPr marL="98933" marR="98933" marT="49466" marB="49466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Цели кредита, связанные с развитием неторговой деятельности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98933" marR="98933" marT="49466" marB="49466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Цели кредита,</a:t>
                      </a:r>
                      <a:r>
                        <a:rPr lang="ru-RU" sz="7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связанные с развитием торговой деятельности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98933" marR="98933" marT="49466" marB="49466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445">
                <a:tc>
                  <a:txBody>
                    <a:bodyPr/>
                    <a:lstStyle/>
                    <a:p>
                      <a:pPr algn="l"/>
                      <a:endParaRPr lang="ru-RU" sz="700" dirty="0">
                        <a:latin typeface="+mj-lt"/>
                      </a:endParaRPr>
                    </a:p>
                  </a:txBody>
                  <a:tcPr marL="98933" marR="98933" marT="49466" marB="49466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Гарантийное</a:t>
                      </a:r>
                      <a:r>
                        <a:rPr lang="ru-RU" sz="7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обеспечение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д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о 50% (вкл.)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Гарантийное</a:t>
                      </a:r>
                      <a:r>
                        <a:rPr lang="ru-RU" sz="7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обеспечение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от 50% д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о 70% (вкл.)</a:t>
                      </a:r>
                    </a:p>
                  </a:txBody>
                  <a:tcPr marL="98933" marR="98933" marT="49466" marB="49466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Гарантийное</a:t>
                      </a:r>
                      <a:r>
                        <a:rPr lang="ru-RU" sz="7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обеспечение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д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о 50% (вкл.)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Гарантийное</a:t>
                      </a:r>
                      <a:r>
                        <a:rPr lang="ru-RU" sz="7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обеспечение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от 50% д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о 70% (вкл.)</a:t>
                      </a:r>
                    </a:p>
                  </a:txBody>
                  <a:tcPr marL="98933" marR="98933" marT="49466" marB="49466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51259">
                <a:tc>
                  <a:txBody>
                    <a:bodyPr/>
                    <a:lstStyle/>
                    <a:p>
                      <a:pPr marL="628650" lvl="0" indent="0" algn="l"/>
                      <a:r>
                        <a:rPr lang="ru-RU" sz="800" b="1" dirty="0" smtClean="0">
                          <a:latin typeface="+mj-lt"/>
                          <a:cs typeface="Arial" panose="020B0604020202020204" pitchFamily="34" charset="0"/>
                        </a:rPr>
                        <a:t>Инвестиции</a:t>
                      </a:r>
                    </a:p>
                    <a:p>
                      <a:pPr marL="628650" lvl="0" indent="0" algn="l">
                        <a:spcBef>
                          <a:spcPts val="300"/>
                        </a:spcBef>
                      </a:pPr>
                      <a:r>
                        <a:rPr lang="ru-RU" sz="7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Приобретение, создание, модернизация основных средств, реконструкция или ремонт, а также инновационные цели</a:t>
                      </a:r>
                      <a:endParaRPr lang="ru-RU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endParaRPr>
                    </a:p>
                  </a:txBody>
                  <a:tcPr marL="98933" marR="98933" marT="49466" marB="49466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Прямая гарантия для инвестиций</a:t>
                      </a:r>
                    </a:p>
                    <a:p>
                      <a:pPr marL="22860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AutoNum type="arabicParenR"/>
                        <a:tabLst/>
                        <a:defRPr/>
                      </a:pPr>
                      <a:endParaRPr lang="ru-RU" sz="7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8933" marR="98933" marT="49466" marB="49466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инвестиций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инвестиций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, при этом независимая гарантия Корпорации/ банковская гарантия МСП Банка должна обеспечивать не более 50% от суммы обязательств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00949">
                <a:tc>
                  <a:txBody>
                    <a:bodyPr/>
                    <a:lstStyle/>
                    <a:p>
                      <a:pPr marL="628650" lvl="0" indent="0" algn="l"/>
                      <a:r>
                        <a:rPr lang="ru-RU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</a:p>
                    <a:p>
                      <a:pPr marL="628650" lvl="0" indent="0" algn="l" defTabSz="859536" rtl="0" eaLnBrk="1" latinLnBrk="0" hangingPunct="1">
                        <a:spcBef>
                          <a:spcPts val="300"/>
                        </a:spcBef>
                      </a:pPr>
                      <a:r>
                        <a:rPr lang="ru-RU" sz="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        </a:r>
                      <a:endParaRPr lang="ru-RU" sz="7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8933" marR="98933" marT="49466" marB="49466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ямая гарантия для обеспечения кредитов на пополнение оборотных средств</a:t>
                      </a:r>
                    </a:p>
                  </a:txBody>
                  <a:tcPr marL="98933" marR="98933" marT="49466" marB="49466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кредитов на пополнение оборотных средств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7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кредитов на пополнение оборотных средств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rgbClr val="0070C0"/>
                          </a:solidFill>
                          <a:latin typeface="+mj-lt"/>
                          <a:ea typeface="+mn-ea"/>
                          <a:cs typeface="+mn-cs"/>
                        </a:rPr>
                        <a:t>Кредитные</a:t>
                      </a:r>
                      <a:r>
                        <a:rPr lang="ru-RU" sz="700" b="0" kern="1200" baseline="0" dirty="0" smtClean="0">
                          <a:solidFill>
                            <a:srgbClr val="0070C0"/>
                          </a:solidFill>
                          <a:latin typeface="+mj-lt"/>
                          <a:ea typeface="+mn-ea"/>
                          <a:cs typeface="+mn-cs"/>
                        </a:rPr>
                        <a:t> средства должны направляться исключительно на приобретение товаров у конечных производителей-субъектов МСП для последующей перепродажи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  <a:p>
                      <a:pPr algn="l"/>
                      <a:endParaRPr lang="ru-RU" sz="7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кредитов на пополнение оборотных средств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, при этом:</a:t>
                      </a:r>
                    </a:p>
                    <a:p>
                      <a:pPr marL="3587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гарантия и поручительство РГО совместно могут обеспечивать не более 70% от суммы обязательств в случае, если кредитные средства направляются исключительно на приобретение товаров у конечных производителей-субъектов МСП для последующей перепродажи</a:t>
                      </a:r>
                    </a:p>
                    <a:p>
                      <a:pPr marL="3587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езависимая гарантия Корпорации/ банковская гарантия МСП Банка должна обеспечивать не более 50% от суммы обязательств в случае, если кредитные средства направляются на развитие прочих видов торговой деятельности</a:t>
                      </a:r>
                      <a:endParaRPr lang="ru-RU" sz="700" b="0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36605">
                <a:tc>
                  <a:txBody>
                    <a:bodyPr/>
                    <a:lstStyle/>
                    <a:p>
                      <a:pPr marL="6286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Исполнение государственных и муниципальных контрактов</a:t>
                      </a:r>
                    </a:p>
                    <a:p>
                      <a:pPr marL="628650" marR="0" lvl="0" indent="0" algn="l" defTabSz="85953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троительство, изготовление, поставка товаров, оборудования и оказание услуг</a:t>
                      </a:r>
                      <a:endParaRPr lang="ru-RU" sz="7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8933" marR="98933" marT="49466" marB="49466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ямая гарантия для обеспечения гарантии исполнения контракта</a:t>
                      </a:r>
                    </a:p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ямая гарантия для обеспечения кредитов на исполнение контрактов</a:t>
                      </a:r>
                    </a:p>
                    <a:p>
                      <a:pPr marL="0" lvl="1" indent="0" algn="l" defTabSz="355600">
                        <a:spcBef>
                          <a:spcPct val="0"/>
                        </a:spcBef>
                        <a:buFont typeface="Wingdings" panose="05000000000000000000" pitchFamily="2" charset="2"/>
                        <a:buNone/>
                      </a:pPr>
                      <a:endParaRPr lang="ru-RU" sz="7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1" indent="0" algn="just" defTabSz="355600">
                        <a:spcBef>
                          <a:spcPct val="0"/>
                        </a:spcBef>
                        <a:buFont typeface="Wingdings" panose="05000000000000000000" pitchFamily="2" charset="2"/>
                        <a:buNone/>
                      </a:pPr>
                      <a:endParaRPr lang="ru-RU" sz="700" b="1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 gridSpan="2"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гарантии исполнения контракта</a:t>
                      </a:r>
                    </a:p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кредитов на исполнение контрактов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rgbClr val="0070C0"/>
                          </a:solidFill>
                          <a:latin typeface="+mj-lt"/>
                          <a:ea typeface="+mn-ea"/>
                          <a:cs typeface="+mn-cs"/>
                        </a:rPr>
                        <a:t>Наличие в структуре обеспечения поручительства РГО, при этом независимая гарантия Корпорации/ банковская гарантия МСП Банка должна обеспечивать не более 50% от суммы обязательств</a:t>
                      </a: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b="0" kern="1200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8933" marR="98933" marT="49466" marB="49466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29133">
                <a:tc>
                  <a:txBody>
                    <a:bodyPr/>
                    <a:lstStyle/>
                    <a:p>
                      <a:pPr marL="6286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+mj-lt"/>
                          <a:cs typeface="Arial" panose="020B0604020202020204" pitchFamily="34" charset="0"/>
                        </a:rPr>
                        <a:t>Рефинансирование/ реструктуризация действующего кредита</a:t>
                      </a:r>
                    </a:p>
                    <a:p>
                      <a:pPr marL="628650" marR="0" lvl="0" indent="0" algn="l" defTabSz="85953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Увеличение срока погашения ранее выданного кредита и прочие изменения существенных условий кредитного договора</a:t>
                      </a:r>
                      <a:endParaRPr lang="ru-RU" sz="7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8933" marR="98933" marT="49466" marB="49466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ямая гарантия для рефинансируемых кредитов</a:t>
                      </a:r>
                    </a:p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ямая гарантия для обеспечения </a:t>
                      </a:r>
                      <a:r>
                        <a:rPr lang="ru-RU" sz="700" b="0" kern="120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реструктурируемых</a:t>
                      </a: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кредитов</a:t>
                      </a:r>
                    </a:p>
                  </a:txBody>
                  <a:tcPr marL="98933" marR="98933" marT="49466" marB="49466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рефинансируемых кредитов</a:t>
                      </a:r>
                    </a:p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</a:t>
                      </a:r>
                      <a:r>
                        <a:rPr lang="ru-RU" sz="7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структурируемых</a:t>
                      </a: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ов</a:t>
                      </a:r>
                    </a:p>
                    <a:p>
                      <a:pPr marL="0" marR="0" lvl="1" indent="0" algn="l" defTabSz="3556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3556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92075" marR="0" lvl="1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рефинансируемых кредитов</a:t>
                      </a:r>
                    </a:p>
                    <a:p>
                      <a:pPr marL="88900" marR="0" lvl="1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ямая гарантия для обеспечения </a:t>
                      </a:r>
                      <a:r>
                        <a:rPr lang="ru-RU" sz="7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структурируемых</a:t>
                      </a:r>
                      <a:r>
                        <a:rPr lang="ru-RU" sz="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ов</a:t>
                      </a:r>
                    </a:p>
                    <a:p>
                      <a:pPr marL="0" marR="0" lvl="1" indent="0" algn="l" defTabSz="3556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266700" marR="0" lvl="1" indent="0" algn="l" defTabSz="3556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Наличие</a:t>
                      </a:r>
                      <a:r>
                        <a:rPr lang="ru-RU" sz="700" b="0" baseline="0" dirty="0" smtClean="0">
                          <a:solidFill>
                            <a:srgbClr val="0070C0"/>
                          </a:solidFill>
                          <a:latin typeface="+mj-lt"/>
                        </a:rPr>
                        <a:t> в структуре обеспечения поручительства РГО, при этом независимая гарантия Корпорации/ банковская гарантия МСП Банка должна обеспечивать не более 50% от суммы обязательств</a:t>
                      </a:r>
                      <a:endParaRPr lang="ru-RU" sz="700" b="0" dirty="0" smtClean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1" indent="0" algn="l" defTabSz="3556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700" dirty="0" smtClean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98933" marR="98933" marT="49466" marB="49466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pSp>
        <p:nvGrpSpPr>
          <p:cNvPr id="5" name="Группа 4"/>
          <p:cNvGrpSpPr/>
          <p:nvPr/>
        </p:nvGrpSpPr>
        <p:grpSpPr>
          <a:xfrm>
            <a:off x="4005490" y="3004360"/>
            <a:ext cx="228609" cy="197077"/>
            <a:chOff x="200025" y="5810250"/>
            <a:chExt cx="475107" cy="409575"/>
          </a:xfrm>
        </p:grpSpPr>
        <p:sp>
          <p:nvSpPr>
            <p:cNvPr id="6" name="Равнобедренный треугольник 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917674" y="6218085"/>
            <a:ext cx="71686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е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4005490" y="1980379"/>
            <a:ext cx="228609" cy="197077"/>
            <a:chOff x="200025" y="5810250"/>
            <a:chExt cx="475107" cy="409575"/>
          </a:xfrm>
        </p:grpSpPr>
        <p:sp>
          <p:nvSpPr>
            <p:cNvPr id="17" name="Равнобедренный треугольник 16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5468530" y="1893269"/>
            <a:ext cx="228609" cy="197077"/>
            <a:chOff x="200025" y="5810250"/>
            <a:chExt cx="475107" cy="409575"/>
          </a:xfrm>
        </p:grpSpPr>
        <p:sp>
          <p:nvSpPr>
            <p:cNvPr id="20" name="Равнобедренный треугольник 19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5468530" y="2993915"/>
            <a:ext cx="228609" cy="197077"/>
            <a:chOff x="200025" y="5810250"/>
            <a:chExt cx="475107" cy="409575"/>
          </a:xfrm>
        </p:grpSpPr>
        <p:sp>
          <p:nvSpPr>
            <p:cNvPr id="23" name="Равнобедренный треугольник 22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6960145" y="2723575"/>
            <a:ext cx="228609" cy="197077"/>
            <a:chOff x="200025" y="5810250"/>
            <a:chExt cx="475107" cy="409575"/>
          </a:xfrm>
        </p:grpSpPr>
        <p:sp>
          <p:nvSpPr>
            <p:cNvPr id="26" name="Равнобедренный треугольник 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5468530" y="4702870"/>
            <a:ext cx="228609" cy="197077"/>
            <a:chOff x="200025" y="5810250"/>
            <a:chExt cx="475107" cy="409575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468530" y="5624760"/>
            <a:ext cx="228609" cy="197077"/>
            <a:chOff x="200025" y="5810250"/>
            <a:chExt cx="475107" cy="409575"/>
          </a:xfrm>
        </p:grpSpPr>
        <p:sp>
          <p:nvSpPr>
            <p:cNvPr id="32" name="Равнобедренный треугольник 31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392604" y="5834002"/>
              <a:ext cx="89951" cy="38378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4005490" y="6165265"/>
            <a:ext cx="228609" cy="197077"/>
            <a:chOff x="200025" y="5810250"/>
            <a:chExt cx="475107" cy="409575"/>
          </a:xfrm>
        </p:grpSpPr>
        <p:sp>
          <p:nvSpPr>
            <p:cNvPr id="35" name="Равнобедренный треугольник 34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8741689" y="6192488"/>
            <a:ext cx="228609" cy="197077"/>
            <a:chOff x="200025" y="5810250"/>
            <a:chExt cx="475107" cy="409575"/>
          </a:xfrm>
        </p:grpSpPr>
        <p:sp>
          <p:nvSpPr>
            <p:cNvPr id="38" name="Равнобедренный треугольник 37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92604" y="5834002"/>
              <a:ext cx="89951" cy="38378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parajita" panose="020B0604020202020204" pitchFamily="34" charset="0"/>
                </a:rPr>
                <a:t>!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parajita" panose="020B0604020202020204" pitchFamily="34" charset="0"/>
              </a:endParaRPr>
            </a:p>
          </p:txBody>
        </p:sp>
      </p:grpSp>
      <p:sp>
        <p:nvSpPr>
          <p:cNvPr id="40" name="Скругленный прямоугольник 39"/>
          <p:cNvSpPr/>
          <p:nvPr/>
        </p:nvSpPr>
        <p:spPr>
          <a:xfrm>
            <a:off x="8692475" y="6153150"/>
            <a:ext cx="898525" cy="274515"/>
          </a:xfrm>
          <a:prstGeom prst="roundRect">
            <a:avLst>
              <a:gd name="adj" fmla="val 9727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373706" y="4444954"/>
            <a:ext cx="543855" cy="460804"/>
            <a:chOff x="469426" y="3429434"/>
            <a:chExt cx="723871" cy="613329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469426" y="3429434"/>
              <a:ext cx="723871" cy="2234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ГОСЗАКАЗ</a:t>
              </a:r>
              <a:endPara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395892" y="3108122"/>
            <a:ext cx="499482" cy="379982"/>
            <a:chOff x="584384" y="2621119"/>
            <a:chExt cx="664810" cy="505756"/>
          </a:xfrm>
        </p:grpSpPr>
        <p:grpSp>
          <p:nvGrpSpPr>
            <p:cNvPr id="46" name="Группа 45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8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9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0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1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47" name="Овал 46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₽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357670" y="1764247"/>
            <a:ext cx="601338" cy="416455"/>
            <a:chOff x="-616818" y="1855578"/>
            <a:chExt cx="800381" cy="554302"/>
          </a:xfrm>
        </p:grpSpPr>
        <p:sp>
          <p:nvSpPr>
            <p:cNvPr id="41" name="Freeform 72"/>
            <p:cNvSpPr>
              <a:spLocks noChangeAspect="1" noEditPoints="1"/>
            </p:cNvSpPr>
            <p:nvPr/>
          </p:nvSpPr>
          <p:spPr bwMode="auto">
            <a:xfrm>
              <a:off x="-151848" y="1899961"/>
              <a:ext cx="335411" cy="458268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-616818" y="1855578"/>
              <a:ext cx="554302" cy="554302"/>
            </a:xfrm>
            <a:prstGeom prst="rect">
              <a:avLst/>
            </a:prstGeom>
          </p:spPr>
        </p:pic>
      </p:grpSp>
      <p:grpSp>
        <p:nvGrpSpPr>
          <p:cNvPr id="53" name="Группа 52"/>
          <p:cNvGrpSpPr/>
          <p:nvPr/>
        </p:nvGrpSpPr>
        <p:grpSpPr>
          <a:xfrm>
            <a:off x="409683" y="5568714"/>
            <a:ext cx="471900" cy="562898"/>
            <a:chOff x="504944" y="4355696"/>
            <a:chExt cx="628098" cy="749216"/>
          </a:xfrm>
        </p:grpSpPr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55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57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8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56" name="Прямоугольник 55"/>
            <p:cNvSpPr/>
            <p:nvPr/>
          </p:nvSpPr>
          <p:spPr>
            <a:xfrm>
              <a:off x="539126" y="4881466"/>
              <a:ext cx="593916" cy="2234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КРЕДИТ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734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Технологических требований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771651" y="1013697"/>
            <a:ext cx="7862887" cy="647258"/>
            <a:chOff x="1152525" y="1013697"/>
            <a:chExt cx="5964079" cy="413466"/>
          </a:xfrm>
        </p:grpSpPr>
        <p:sp>
          <p:nvSpPr>
            <p:cNvPr id="12" name="Pentagon 64"/>
            <p:cNvSpPr/>
            <p:nvPr/>
          </p:nvSpPr>
          <p:spPr>
            <a:xfrm>
              <a:off x="5049655" y="1013697"/>
              <a:ext cx="2066949" cy="413466"/>
            </a:xfrm>
            <a:prstGeom prst="homePlate">
              <a:avLst>
                <a:gd name="adj" fmla="val 23795"/>
              </a:avLst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58775" indent="-179388" defTabSz="986912"/>
              <a:r>
                <a:rPr lang="ru-RU" sz="1100" b="1" dirty="0" smtClean="0">
                  <a:solidFill>
                    <a:srgbClr val="FFFFFF"/>
                  </a:solidFill>
                </a:rPr>
                <a:t>3. Оформление гарантии/ поручительства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1" name="Pentagon 64"/>
            <p:cNvSpPr/>
            <p:nvPr/>
          </p:nvSpPr>
          <p:spPr>
            <a:xfrm>
              <a:off x="3101090" y="1013697"/>
              <a:ext cx="2066949" cy="413466"/>
            </a:xfrm>
            <a:prstGeom prst="homePlate">
              <a:avLst>
                <a:gd name="adj" fmla="val 23795"/>
              </a:avLst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58775" indent="-179388" defTabSz="986912"/>
              <a:r>
                <a:rPr lang="ru-RU" sz="1100" b="1" dirty="0" smtClean="0">
                  <a:solidFill>
                    <a:srgbClr val="FFFFFF"/>
                  </a:solidFill>
                </a:rPr>
                <a:t>2. Обработка заявки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" name="Pentagon 64"/>
            <p:cNvSpPr/>
            <p:nvPr/>
          </p:nvSpPr>
          <p:spPr>
            <a:xfrm>
              <a:off x="1152525" y="1013697"/>
              <a:ext cx="2066949" cy="413466"/>
            </a:xfrm>
            <a:prstGeom prst="homePlate">
              <a:avLst>
                <a:gd name="adj" fmla="val 23795"/>
              </a:avLst>
            </a:prstGeom>
            <a:solidFill>
              <a:srgbClr val="00206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9388" indent="-179388" defTabSz="986912"/>
              <a:r>
                <a:rPr lang="ru-RU" sz="1100" b="1" dirty="0" smtClean="0">
                  <a:solidFill>
                    <a:srgbClr val="FFFFFF"/>
                  </a:solidFill>
                </a:rPr>
                <a:t>1. Прием/ маршрутизация заявки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771651" y="1848733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пределение клиентских сегментов для предоставления гарантийной поддержки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Описание принципа многоканальности приема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заявок на предоставление гарантий,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определение центров приема и обработки входящего потока заявок</a:t>
            </a:r>
          </a:p>
          <a:p>
            <a:pPr marL="84138" indent="-84138" defTabSz="986912">
              <a:buClr>
                <a:srgbClr val="00B0F0"/>
              </a:buClr>
            </a:pPr>
            <a:endParaRPr lang="ru-RU" sz="1000" dirty="0" smtClean="0">
              <a:solidFill>
                <a:schemeClr val="tx1"/>
              </a:solidFill>
            </a:endParaRPr>
          </a:p>
        </p:txBody>
      </p:sp>
      <p:cxnSp>
        <p:nvCxnSpPr>
          <p:cNvPr id="14" name="Straight Connector 421"/>
          <p:cNvCxnSpPr/>
          <p:nvPr/>
        </p:nvCxnSpPr>
        <p:spPr>
          <a:xfrm>
            <a:off x="360332" y="3491030"/>
            <a:ext cx="9184899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42"/>
          <p:cNvSpPr/>
          <p:nvPr/>
        </p:nvSpPr>
        <p:spPr>
          <a:xfrm>
            <a:off x="285750" y="2020823"/>
            <a:ext cx="1165227" cy="928731"/>
          </a:xfrm>
          <a:prstGeom prst="rect">
            <a:avLst/>
          </a:prstGeom>
          <a:effectLst>
            <a:glow>
              <a:srgbClr val="002776"/>
            </a:glow>
            <a:outerShdw dir="15480000" sx="173000" sy="173000" algn="ctr" rotWithShape="0">
              <a:srgbClr val="000000">
                <a:alpha val="56000"/>
              </a:srgbClr>
            </a:outerShdw>
            <a:reflection endPos="0" dir="5400000" sy="-100000" algn="bl" rotWithShape="0"/>
            <a:softEdge rad="0"/>
          </a:effectLst>
        </p:spPr>
        <p:txBody>
          <a:bodyPr wrap="square" lIns="0" tIns="0" rIns="0" bIns="0" anchor="t">
            <a:noAutofit/>
          </a:bodyPr>
          <a:lstStyle/>
          <a:p>
            <a:pPr defTabSz="104258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"/>
              </a:rPr>
              <a:t>Основная часть</a:t>
            </a:r>
            <a:endParaRPr lang="en-US" sz="900" b="1" kern="0" dirty="0">
              <a:latin typeface="Arial"/>
            </a:endParaRPr>
          </a:p>
        </p:txBody>
      </p:sp>
      <p:sp>
        <p:nvSpPr>
          <p:cNvPr id="17" name="Rectangle 42"/>
          <p:cNvSpPr/>
          <p:nvPr/>
        </p:nvSpPr>
        <p:spPr>
          <a:xfrm>
            <a:off x="285750" y="3753045"/>
            <a:ext cx="1165227" cy="928731"/>
          </a:xfrm>
          <a:prstGeom prst="rect">
            <a:avLst/>
          </a:prstGeom>
          <a:effectLst>
            <a:glow>
              <a:srgbClr val="002776"/>
            </a:glow>
            <a:outerShdw dir="15480000" sx="173000" sy="173000" algn="ctr" rotWithShape="0">
              <a:srgbClr val="000000">
                <a:alpha val="56000"/>
              </a:srgbClr>
            </a:outerShdw>
            <a:reflection endPos="0" dir="5400000" sy="-100000" algn="bl" rotWithShape="0"/>
            <a:softEdge rad="0"/>
          </a:effectLst>
        </p:spPr>
        <p:txBody>
          <a:bodyPr wrap="square" lIns="0" tIns="0" rIns="0" bIns="0" anchor="t">
            <a:noAutofit/>
          </a:bodyPr>
          <a:lstStyle/>
          <a:p>
            <a:pPr defTabSz="104258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"/>
              </a:rPr>
              <a:t>Приложения</a:t>
            </a:r>
            <a:endParaRPr lang="en-US" sz="900" b="1" kern="0" dirty="0">
              <a:latin typeface="Arial"/>
            </a:endParaRPr>
          </a:p>
        </p:txBody>
      </p:sp>
      <p:sp>
        <p:nvSpPr>
          <p:cNvPr id="18" name="L-Shape 10"/>
          <p:cNvSpPr/>
          <p:nvPr/>
        </p:nvSpPr>
        <p:spPr>
          <a:xfrm rot="13701821">
            <a:off x="1280260" y="2112403"/>
            <a:ext cx="222813" cy="222813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L-Shape 10"/>
          <p:cNvSpPr/>
          <p:nvPr/>
        </p:nvSpPr>
        <p:spPr>
          <a:xfrm rot="13701821">
            <a:off x="1280260" y="3780907"/>
            <a:ext cx="222813" cy="222813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4408714" y="1848733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Описание алгоритма действий центров приема заявок в рамках маршрутизации входящего потока для последующей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бработки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Описание порядка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работы центров обработки заявок в каждом сегменте </a:t>
            </a:r>
          </a:p>
          <a:p>
            <a:pPr marL="84138" indent="-84138" defTabSz="986912">
              <a:buClr>
                <a:srgbClr val="00B0F0"/>
              </a:buClr>
            </a:pP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97476" y="1848733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Описание порядка оформления гарантийной документаци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71651" y="3764331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Требования, которым должен соответствовать Субъект МСП для получения гарантийной поддержки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заявки на получение гарантии/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ручительства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Перечень документов для рассмотрения заявки в рамках каждого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егмента 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орма Предварительного согласия на выдачу гарантии</a:t>
            </a:r>
          </a:p>
          <a:p>
            <a:pPr marL="84138" indent="-84138" defTabSz="986912">
              <a:buClr>
                <a:srgbClr val="00B0F0"/>
              </a:buClr>
            </a:pP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4138" indent="-84138" defTabSz="986912">
              <a:buClr>
                <a:srgbClr val="00B0F0"/>
              </a:buClr>
            </a:pP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4138" indent="-84138" defTabSz="986912">
              <a:buClr>
                <a:srgbClr val="00B0F0"/>
              </a:buClr>
            </a:pP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08714" y="3764331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Перечень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роцедур, включая верификацию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заявки,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роверку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правовой службы и службы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экономической безопасности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участника НГС в рамках каждого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егмента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Перечень </a:t>
            </a:r>
            <a:r>
              <a:rPr lang="ru-RU" sz="1000" dirty="0" err="1">
                <a:ea typeface="Calibri" panose="020F0502020204030204" pitchFamily="34" charset="0"/>
                <a:cs typeface="Times New Roman" panose="02020603050405020304" pitchFamily="18" charset="0"/>
              </a:rPr>
              <a:t>андеррайтинговых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 процедур в рамках каждого 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егмента</a:t>
            </a:r>
          </a:p>
          <a:p>
            <a:pPr marL="84138" indent="-84138" defTabSz="986912">
              <a:spcAft>
                <a:spcPts val="600"/>
              </a:spcAft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Реестр проектов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4138" indent="-84138" defTabSz="986912">
              <a:buClr>
                <a:srgbClr val="00B0F0"/>
              </a:buClr>
            </a:pP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997476" y="3764331"/>
            <a:ext cx="2334304" cy="1225130"/>
          </a:xfrm>
          <a:prstGeom prst="rect">
            <a:avLst/>
          </a:prstGeom>
          <a:noFill/>
        </p:spPr>
        <p:txBody>
          <a:bodyPr wrap="square" lIns="38856" tIns="0" rIns="38856" bIns="0" rtlCol="0" anchor="t">
            <a:no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</a:lstStyle>
          <a:p>
            <a:pPr marL="84138" indent="-84138" defTabSz="986912">
              <a:buClr>
                <a:srgbClr val="00B0F0"/>
              </a:buClr>
            </a:pP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формам договоров поручительства, банковской и независимой гарантии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Rectangle 42"/>
          <p:cNvSpPr/>
          <p:nvPr/>
        </p:nvSpPr>
        <p:spPr>
          <a:xfrm>
            <a:off x="506185" y="1238103"/>
            <a:ext cx="1165227" cy="360268"/>
          </a:xfrm>
          <a:prstGeom prst="rect">
            <a:avLst/>
          </a:prstGeom>
          <a:effectLst>
            <a:glow>
              <a:srgbClr val="002776"/>
            </a:glow>
            <a:outerShdw dir="15480000" sx="173000" sy="173000" algn="ctr" rotWithShape="0">
              <a:srgbClr val="000000">
                <a:alpha val="56000"/>
              </a:srgbClr>
            </a:outerShdw>
            <a:reflection endPos="0" dir="5400000" sy="-100000" algn="bl" rotWithShape="0"/>
            <a:softEdge rad="0"/>
          </a:effectLst>
        </p:spPr>
        <p:txBody>
          <a:bodyPr wrap="square" lIns="0" tIns="0" rIns="0" bIns="0" anchor="t">
            <a:noAutofit/>
          </a:bodyPr>
          <a:lstStyle/>
          <a:p>
            <a:pPr algn="r" defTabSz="104258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solidFill>
                  <a:schemeClr val="bg1">
                    <a:lumMod val="50000"/>
                  </a:schemeClr>
                </a:solidFill>
                <a:latin typeface="Arial"/>
              </a:rPr>
              <a:t>Этапы </a:t>
            </a:r>
            <a:endParaRPr lang="en-US" sz="900" b="1" kern="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082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Определение Центров приема </a:t>
            </a:r>
            <a:r>
              <a:rPr lang="ru-RU" sz="1600" dirty="0"/>
              <a:t>и обработки входящего потока заявок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484996"/>
              </p:ext>
            </p:extLst>
          </p:nvPr>
        </p:nvGraphicFramePr>
        <p:xfrm>
          <a:off x="293084" y="853806"/>
          <a:ext cx="9341455" cy="5306234"/>
        </p:xfrm>
        <a:graphic>
          <a:graphicData uri="http://schemas.openxmlformats.org/drawingml/2006/table">
            <a:tbl>
              <a:tblPr/>
              <a:tblGrid>
                <a:gridCol w="686630">
                  <a:extLst>
                    <a:ext uri="{9D8B030D-6E8A-4147-A177-3AD203B41FA5}">
                      <a16:colId xmlns:a16="http://schemas.microsoft.com/office/drawing/2014/main" xmlns="" val="2360793310"/>
                    </a:ext>
                  </a:extLst>
                </a:gridCol>
                <a:gridCol w="1036865">
                  <a:extLst>
                    <a:ext uri="{9D8B030D-6E8A-4147-A177-3AD203B41FA5}">
                      <a16:colId xmlns:a16="http://schemas.microsoft.com/office/drawing/2014/main" xmlns="" val="747419572"/>
                    </a:ext>
                  </a:extLst>
                </a:gridCol>
                <a:gridCol w="2681491">
                  <a:extLst>
                    <a:ext uri="{9D8B030D-6E8A-4147-A177-3AD203B41FA5}">
                      <a16:colId xmlns:a16="http://schemas.microsoft.com/office/drawing/2014/main" xmlns="" val="2410538545"/>
                    </a:ext>
                  </a:extLst>
                </a:gridCol>
                <a:gridCol w="4936469">
                  <a:extLst>
                    <a:ext uri="{9D8B030D-6E8A-4147-A177-3AD203B41FA5}">
                      <a16:colId xmlns:a16="http://schemas.microsoft.com/office/drawing/2014/main" xmlns="" val="560484084"/>
                    </a:ext>
                  </a:extLst>
                </a:gridCol>
              </a:tblGrid>
              <a:tr h="28919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Центр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Уполномоченная организация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Функции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0669210"/>
                  </a:ext>
                </a:extLst>
              </a:tr>
              <a:tr h="555171">
                <a:tc rowSpan="3"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Центр приема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заявок</a:t>
                      </a:r>
                      <a:endParaRPr lang="en-US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Небанковские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центр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орпорация (фронт-офис*)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СП Банк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фронт-офис*)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ГО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фронт-офис*)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онсультирование субъекта МСП по условиям предоставления гарантии и условиям кредитования банками-партнерами, а также по составу пакета необходимых для получения гарантии документов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верка полноты заполнения заявки, оценка соответствия субъекта МСП требованиям Закона № 209-ФЗ и соответствия параметров запрашиваемой Гарантии условиям гарантийных продуктов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ередача документов в подразделения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мидл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офиса**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ля дальнейшей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обработки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ведение процедур </a:t>
                      </a:r>
                      <a:r>
                        <a:rPr lang="ru-RU" sz="9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андеррайтинга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несение и обновление информации о проектах субъектов МСП в реестре проектов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65499579"/>
                  </a:ext>
                </a:extLst>
              </a:tr>
              <a:tr h="14065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нфраструктура поддержки:</a:t>
                      </a:r>
                    </a:p>
                    <a:p>
                      <a:pPr marL="361950" indent="-171450" algn="l" fontAlgn="t">
                        <a:spcBef>
                          <a:spcPts val="2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/региональная инфраструктура поддержки МСП</a:t>
                      </a:r>
                    </a:p>
                    <a:p>
                      <a:pPr marL="361950" indent="-171450" algn="l" fontAlgn="t">
                        <a:spcBef>
                          <a:spcPts val="2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 (МФЦ)</a:t>
                      </a:r>
                    </a:p>
                    <a:p>
                      <a:pPr marL="361950" indent="-171450" algn="l" fontAlgn="t">
                        <a:spcBef>
                          <a:spcPts val="2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 / общественные организации</a:t>
                      </a:r>
                    </a:p>
                    <a:p>
                      <a:pPr marL="361950" indent="-171450" algn="l" fontAlgn="t">
                        <a:spcBef>
                          <a:spcPts val="2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9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чие организаци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нсультирование субъекта МСП по условиям предоставления гарантии и условиям кредитования банками-партнерами, а также по составу пакета необходимых для получения гарантии документов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верка полноты заполнения заявки, оценка соответствия субъекта МСП требованиям Закона № 209-ФЗ и соответствия параметров запрашиваемой Гарантии условиям гарантийных продуктов</a:t>
                      </a:r>
                    </a:p>
                    <a:p>
                      <a:pPr marL="171450" indent="-17145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ередача документов в Центр обработки заявок посредством Телекоммуникационных каналов связи, а также на бумажных носителях почтой или курьером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917004554"/>
                  </a:ext>
                </a:extLst>
              </a:tr>
              <a:tr h="241581">
                <a:tc vMerge="1">
                  <a:txBody>
                    <a:bodyPr/>
                    <a:lstStyle/>
                    <a:p>
                      <a:pPr algn="l" fontAlgn="t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Банковские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центр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859536" rtl="0" eaLnBrk="1" fontAlgn="t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defTabSz="859536" rtl="0" eaLnBrk="1" fontAlgn="t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ормирование и направление в компетентный Центр обработки заявок пакета документов для получения гарантии и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явк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6198740"/>
                  </a:ext>
                </a:extLst>
              </a:tr>
              <a:tr h="241581">
                <a:tc gridSpan="2"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нтр обработки заявок</a:t>
                      </a:r>
                      <a:endParaRPr lang="es-ES" sz="105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F5F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(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идл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офис*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*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дл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офис*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ГО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дл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офис</a:t>
                      </a:r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)</a:t>
                      </a:r>
                      <a:endParaRPr lang="ru-RU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пределение Центра обработки Заявок с необходимыми компетенциями, исходя из принадлежности заявки к соответствующему сегменту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верка полноты заполнения заявки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верка на предмет выполнения субъектом МСП требований для получения гарантийной поддержки, а также соответствия параметров запрашиваемой субъектом МСП Гарантии условиям гарантийных продуктов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рификация пакета документов к заявке субъекта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СП, оценка его деловой репутации и правоспособности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инятие решения на уровне уполномоченного органа о выдаче гарантии</a:t>
                      </a:r>
                      <a:endParaRPr lang="ru-RU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формление гарантийной документации (при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положительном результате рассмотрения заявки)</a:t>
                      </a:r>
                      <a:endParaRPr lang="ru-RU" sz="9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61262122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93082" y="6199546"/>
            <a:ext cx="9341457" cy="2328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* 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Фронт-офис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- структурные подразделения, осуществляющие привлечение и обслуживание внешних контрагентов (клиенты, банки-партнеры, субъекты инфраструктуры поддержки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</a:rPr>
              <a:t>МСП)</a:t>
            </a:r>
            <a:endParaRPr lang="en-US" sz="8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** </a:t>
            </a:r>
            <a:r>
              <a:rPr lang="ru-RU" sz="800" b="1" dirty="0" err="1" smtClean="0">
                <a:solidFill>
                  <a:schemeClr val="bg1">
                    <a:lumMod val="50000"/>
                  </a:schemeClr>
                </a:solidFill>
              </a:rPr>
              <a:t>Мидл</a:t>
            </a:r>
            <a:r>
              <a:rPr lang="ru-RU" sz="800" b="1" dirty="0" smtClean="0">
                <a:solidFill>
                  <a:schemeClr val="bg1">
                    <a:lumMod val="50000"/>
                  </a:schemeClr>
                </a:solidFill>
              </a:rPr>
              <a:t>-офис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- структурные подразделения, осуществляющие маршрутизацию и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</a:rPr>
              <a:t>обработку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заявок на предоставление гарантий, включая подготовку решений коллегиальных органов</a:t>
            </a:r>
          </a:p>
        </p:txBody>
      </p:sp>
    </p:spTree>
    <p:extLst>
      <p:ext uri="{BB962C8B-B14F-4D97-AF65-F5344CB8AC3E}">
        <p14:creationId xmlns:p14="http://schemas.microsoft.com/office/powerpoint/2010/main" val="2120749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Описание сегментов</a:t>
            </a:r>
            <a:endParaRPr lang="ru-RU" sz="16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059818"/>
              </p:ext>
            </p:extLst>
          </p:nvPr>
        </p:nvGraphicFramePr>
        <p:xfrm>
          <a:off x="293082" y="1090570"/>
          <a:ext cx="9341458" cy="3017694"/>
        </p:xfrm>
        <a:graphic>
          <a:graphicData uri="http://schemas.openxmlformats.org/drawingml/2006/table">
            <a:tbl>
              <a:tblPr/>
              <a:tblGrid>
                <a:gridCol w="1604298">
                  <a:extLst>
                    <a:ext uri="{9D8B030D-6E8A-4147-A177-3AD203B41FA5}">
                      <a16:colId xmlns:a16="http://schemas.microsoft.com/office/drawing/2014/main" xmlns="" val="2360793310"/>
                    </a:ext>
                  </a:extLst>
                </a:gridCol>
                <a:gridCol w="1934290">
                  <a:extLst>
                    <a:ext uri="{9D8B030D-6E8A-4147-A177-3AD203B41FA5}">
                      <a16:colId xmlns:a16="http://schemas.microsoft.com/office/drawing/2014/main" xmlns="" val="2410538545"/>
                    </a:ext>
                  </a:extLst>
                </a:gridCol>
                <a:gridCol w="1934290">
                  <a:extLst>
                    <a:ext uri="{9D8B030D-6E8A-4147-A177-3AD203B41FA5}">
                      <a16:colId xmlns:a16="http://schemas.microsoft.com/office/drawing/2014/main" xmlns="" val="560484084"/>
                    </a:ext>
                  </a:extLst>
                </a:gridCol>
                <a:gridCol w="1934290">
                  <a:extLst>
                    <a:ext uri="{9D8B030D-6E8A-4147-A177-3AD203B41FA5}">
                      <a16:colId xmlns:a16="http://schemas.microsoft.com/office/drawing/2014/main" xmlns="" val="2930021484"/>
                    </a:ext>
                  </a:extLst>
                </a:gridCol>
                <a:gridCol w="1934290">
                  <a:extLst>
                    <a:ext uri="{9D8B030D-6E8A-4147-A177-3AD203B41FA5}">
                      <a16:colId xmlns:a16="http://schemas.microsoft.com/office/drawing/2014/main" xmlns="" val="3395954532"/>
                    </a:ext>
                  </a:extLst>
                </a:gridCol>
              </a:tblGrid>
              <a:tr h="2891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араметр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Микро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Малый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ижний средний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Средний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0669210"/>
                  </a:ext>
                </a:extLst>
              </a:tr>
              <a:tr h="241581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гарантийной поддержки</a:t>
                      </a:r>
                      <a:endParaRPr 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C7E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до 5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млн руб.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более 5 до 25 млн руб.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более 25 до 100 млн руб.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более 100 млн руб.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65499579"/>
                  </a:ext>
                </a:extLst>
              </a:tr>
              <a:tr h="241581">
                <a:tc>
                  <a:txBody>
                    <a:bodyPr/>
                    <a:lstStyle/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ентр обработки заявок</a:t>
                      </a:r>
                      <a:endParaRPr lang="es-ES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C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ГО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ГО</a:t>
                      </a:r>
                    </a:p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*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404158804"/>
                  </a:ext>
                </a:extLst>
              </a:tr>
              <a:tr h="241581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собенности</a:t>
                      </a:r>
                      <a:endParaRPr lang="es-ES" sz="105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C7E7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ля РГО без функции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«Риски» взаимодействие только с банками на «Специальном режиме»**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ля РГО с функцией «Риски» взаимодействие со всеми банками-партнерами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спользование продукта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«</a:t>
                      </a:r>
                      <a:r>
                        <a:rPr lang="ru-RU" sz="105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гарантия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» для всех заявок на сумму свыше границы, установленной для сегмента</a:t>
                      </a:r>
                    </a:p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блегченные процедуры </a:t>
                      </a:r>
                      <a:r>
                        <a:rPr lang="ru-RU" sz="105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андеррайтинга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рощенные процедуры </a:t>
                      </a:r>
                      <a:r>
                        <a:rPr lang="ru-RU" sz="105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деррайтинга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варительное согласие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на предоставление гарантии 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о проектам с суммой финансирования более 200 млн руб.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01242897"/>
                  </a:ext>
                </a:extLst>
              </a:tr>
              <a:tr h="241581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оки принятия решения по заявке</a:t>
                      </a:r>
                      <a:endParaRPr lang="en-US" sz="105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2C7E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spcBef>
                          <a:spcPts val="2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 дня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 дней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дней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0 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ней </a:t>
                      </a:r>
                    </a:p>
                    <a:p>
                      <a:pPr marL="0" marR="0" lvl="0" indent="0" algn="l" defTabSz="859536" rtl="0" eaLnBrk="1" fontAlgn="t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(1</a:t>
                      </a: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дней для Предварительного согласия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346889085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93082" y="4195953"/>
            <a:ext cx="8298467" cy="2328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* только при отсутствии возможности обработки заявки в РГО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3082" y="4428756"/>
            <a:ext cx="9341457" cy="8419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** Специальный 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режим - процесс рассмотрения заявок на представление гарантий субъектам МСП в «микро»-сегменте, с использованием сокращенного перечня документов и результатов анализа заемщика (принципала), проведенного банком-партнером, система оценка риска которого обеспечивает допустимый уровень потерь по предоставленным гарантиям. Специальный режим рассмотрения предусматривает оценку правового и </a:t>
            </a:r>
            <a:r>
              <a:rPr lang="ru-RU" sz="1000" dirty="0" err="1">
                <a:solidFill>
                  <a:schemeClr val="bg1">
                    <a:lumMod val="50000"/>
                  </a:schemeClr>
                </a:solidFill>
              </a:rPr>
              <a:t>репутационного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 риска со стороны Центра обработки заявки без оценки кредитного риска</a:t>
            </a:r>
          </a:p>
        </p:txBody>
      </p:sp>
    </p:spTree>
    <p:extLst>
      <p:ext uri="{BB962C8B-B14F-4D97-AF65-F5344CB8AC3E}">
        <p14:creationId xmlns:p14="http://schemas.microsoft.com/office/powerpoint/2010/main" val="1667527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Критерии для РГО в части обеспечения допуска для работы в «Нижнем среднем сегменте»</a:t>
            </a:r>
          </a:p>
        </p:txBody>
      </p:sp>
      <p:sp>
        <p:nvSpPr>
          <p:cNvPr id="8" name="Text Placeholder 22"/>
          <p:cNvSpPr txBox="1">
            <a:spLocks/>
          </p:cNvSpPr>
          <p:nvPr/>
        </p:nvSpPr>
        <p:spPr bwMode="auto">
          <a:xfrm>
            <a:off x="285750" y="1689677"/>
            <a:ext cx="7969094" cy="728361"/>
          </a:xfrm>
          <a:prstGeom prst="rect">
            <a:avLst/>
          </a:prstGeom>
          <a:solidFill>
            <a:srgbClr val="002060"/>
          </a:solidFill>
        </p:spPr>
        <p:txBody>
          <a:bodyPr wrap="square" lIns="72000" tIns="0" rIns="36000" bIns="0" anchor="ctr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8038" indent="0">
              <a:spcBef>
                <a:spcPts val="3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Капитализация (</a:t>
            </a:r>
            <a:r>
              <a:rPr lang="ru-RU" sz="1200" dirty="0">
                <a:solidFill>
                  <a:schemeClr val="bg1"/>
                </a:solidFill>
              </a:rPr>
              <a:t>14 РГО)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28321" y="1689677"/>
            <a:ext cx="494178" cy="728361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1</a:t>
            </a:r>
            <a:endParaRPr kumimoji="0" lang="en-US" sz="3200" b="1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285750" y="2923820"/>
            <a:ext cx="7969094" cy="728361"/>
          </a:xfrm>
          <a:prstGeom prst="rect">
            <a:avLst/>
          </a:prstGeom>
          <a:solidFill>
            <a:srgbClr val="002060"/>
          </a:solidFill>
        </p:spPr>
        <p:txBody>
          <a:bodyPr wrap="square" lIns="72000" tIns="0" rIns="36000" bIns="0" anchor="ctr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8038" indent="0">
              <a:spcBef>
                <a:spcPts val="3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Отношение размера </a:t>
            </a:r>
            <a:r>
              <a:rPr lang="ru-RU" sz="1200" dirty="0">
                <a:solidFill>
                  <a:schemeClr val="bg1"/>
                </a:solidFill>
              </a:rPr>
              <a:t>выплат по договорам поручительства </a:t>
            </a:r>
            <a:r>
              <a:rPr lang="ru-RU" sz="1200" dirty="0" smtClean="0">
                <a:solidFill>
                  <a:schemeClr val="bg1"/>
                </a:solidFill>
              </a:rPr>
              <a:t>к </a:t>
            </a:r>
            <a:r>
              <a:rPr lang="ru-RU" sz="1200" dirty="0">
                <a:solidFill>
                  <a:schemeClr val="bg1"/>
                </a:solidFill>
              </a:rPr>
              <a:t>общему объему выданных поручительств </a:t>
            </a:r>
            <a:r>
              <a:rPr lang="ru-RU" sz="1200" dirty="0" smtClean="0">
                <a:solidFill>
                  <a:schemeClr val="bg1"/>
                </a:solidFill>
              </a:rPr>
              <a:t>- за </a:t>
            </a:r>
            <a:r>
              <a:rPr lang="ru-RU" sz="1200" dirty="0">
                <a:solidFill>
                  <a:schemeClr val="bg1"/>
                </a:solidFill>
              </a:rPr>
              <a:t>3 года деятельности </a:t>
            </a:r>
            <a:r>
              <a:rPr lang="ru-RU" sz="1200" dirty="0" smtClean="0">
                <a:solidFill>
                  <a:schemeClr val="bg1"/>
                </a:solidFill>
              </a:rPr>
              <a:t>РГО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28321" y="2923820"/>
            <a:ext cx="494178" cy="728361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2</a:t>
            </a:r>
            <a:endParaRPr kumimoji="0" lang="en-US" sz="3200" b="1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285750" y="4157963"/>
            <a:ext cx="9348789" cy="728361"/>
          </a:xfrm>
          <a:prstGeom prst="rect">
            <a:avLst/>
          </a:prstGeom>
          <a:solidFill>
            <a:srgbClr val="002060"/>
          </a:solidFill>
        </p:spPr>
        <p:txBody>
          <a:bodyPr wrap="square" lIns="72000" tIns="0" rIns="36000" bIns="0" anchor="ctr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8038" indent="0">
              <a:spcBef>
                <a:spcPts val="3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Применение и </a:t>
            </a:r>
            <a:r>
              <a:rPr lang="ru-RU" sz="1200" dirty="0">
                <a:solidFill>
                  <a:schemeClr val="bg1"/>
                </a:solidFill>
              </a:rPr>
              <a:t>соблюдение стандартов НГС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8321" y="4157963"/>
            <a:ext cx="494178" cy="728361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3</a:t>
            </a:r>
            <a:endParaRPr kumimoji="0" lang="en-US" sz="3200" b="1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8" name="Text Placeholder 22"/>
          <p:cNvSpPr txBox="1">
            <a:spLocks/>
          </p:cNvSpPr>
          <p:nvPr/>
        </p:nvSpPr>
        <p:spPr bwMode="auto">
          <a:xfrm>
            <a:off x="8658225" y="1689677"/>
            <a:ext cx="976314" cy="728361"/>
          </a:xfrm>
          <a:prstGeom prst="rect">
            <a:avLst/>
          </a:prstGeom>
          <a:solidFill>
            <a:srgbClr val="002060"/>
          </a:solidFill>
        </p:spPr>
        <p:txBody>
          <a:bodyPr wrap="square" lIns="72000" tIns="0" rIns="36000" bIns="0" anchor="ctr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3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700 </a:t>
            </a:r>
          </a:p>
          <a:p>
            <a:pPr marL="0" indent="0" algn="ctr">
              <a:spcBef>
                <a:spcPts val="3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млн руб.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9" name="Text Placeholder 22"/>
          <p:cNvSpPr txBox="1">
            <a:spLocks/>
          </p:cNvSpPr>
          <p:nvPr/>
        </p:nvSpPr>
        <p:spPr bwMode="auto">
          <a:xfrm>
            <a:off x="8658225" y="2923820"/>
            <a:ext cx="976314" cy="728361"/>
          </a:xfrm>
          <a:prstGeom prst="rect">
            <a:avLst/>
          </a:prstGeom>
          <a:solidFill>
            <a:srgbClr val="002060"/>
          </a:solidFill>
        </p:spPr>
        <p:txBody>
          <a:bodyPr wrap="square" lIns="72000" tIns="0" rIns="36000" bIns="0" anchor="ctr">
            <a:no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3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Не более </a:t>
            </a:r>
            <a:r>
              <a:rPr lang="ru-RU" sz="2000" dirty="0">
                <a:solidFill>
                  <a:schemeClr val="bg1"/>
                </a:solidFill>
              </a:rPr>
              <a:t>6%</a:t>
            </a:r>
            <a:endParaRPr lang="en-US" sz="2000" dirty="0" smtClean="0">
              <a:solidFill>
                <a:schemeClr val="bg1"/>
              </a:solidFill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5400000">
            <a:off x="8092354" y="1939559"/>
            <a:ext cx="728361" cy="228600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lIns="72000" tIns="0" rIns="36000" bIns="0" anchor="ctr">
            <a:noAutofit/>
          </a:bodyPr>
          <a:lstStyle/>
          <a:p>
            <a:pPr marL="808038" defTabSz="957263">
              <a:lnSpc>
                <a:spcPct val="106000"/>
              </a:lnSpc>
              <a:spcBef>
                <a:spcPts val="300"/>
              </a:spcBef>
              <a:buFont typeface="Arial" charset="0"/>
            </a:pPr>
            <a:endParaRPr lang="ru-RU" sz="1400">
              <a:solidFill>
                <a:schemeClr val="bg1"/>
              </a:solidFill>
            </a:endParaRPr>
          </a:p>
        </p:txBody>
      </p:sp>
      <p:sp>
        <p:nvSpPr>
          <p:cNvPr id="22" name="Равнобедренный треугольник 21"/>
          <p:cNvSpPr/>
          <p:nvPr/>
        </p:nvSpPr>
        <p:spPr>
          <a:xfrm rot="5400000">
            <a:off x="8092354" y="3173702"/>
            <a:ext cx="728361" cy="228600"/>
          </a:xfrm>
          <a:prstGeom prst="triangle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lIns="72000" tIns="0" rIns="36000" bIns="0" anchor="ctr">
            <a:noAutofit/>
          </a:bodyPr>
          <a:lstStyle/>
          <a:p>
            <a:pPr marL="808038" defTabSz="957263">
              <a:lnSpc>
                <a:spcPct val="106000"/>
              </a:lnSpc>
              <a:spcBef>
                <a:spcPts val="300"/>
              </a:spcBef>
              <a:buFont typeface="Arial" charset="0"/>
            </a:pPr>
            <a:endParaRPr lang="ru-RU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4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5953" y="2620666"/>
            <a:ext cx="9514095" cy="2752445"/>
          </a:xfrm>
        </p:spPr>
        <p:txBody>
          <a:bodyPr anchor="ctr"/>
          <a:lstStyle/>
          <a:p>
            <a:pPr>
              <a:spcBef>
                <a:spcPts val="1200"/>
              </a:spcBef>
            </a:pPr>
            <a:r>
              <a:rPr lang="ru-RU" sz="4000" dirty="0" smtClean="0"/>
              <a:t>Приложения</a:t>
            </a:r>
            <a:endParaRPr lang="ru-RU" sz="2000" b="0" i="1" dirty="0"/>
          </a:p>
        </p:txBody>
      </p:sp>
    </p:spTree>
    <p:extLst>
      <p:ext uri="{BB962C8B-B14F-4D97-AF65-F5344CB8AC3E}">
        <p14:creationId xmlns:p14="http://schemas.microsoft.com/office/powerpoint/2010/main" val="2122498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1.1. Порядок </a:t>
            </a:r>
            <a:r>
              <a:rPr lang="ru-RU" sz="1600" dirty="0"/>
              <a:t>взаимодействия участников НГС в рамках приема и обработки заявок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b="0" dirty="0" smtClean="0"/>
              <a:t>Сегменты </a:t>
            </a:r>
            <a:r>
              <a:rPr lang="ru-RU" sz="1600" b="0" dirty="0"/>
              <a:t>«</a:t>
            </a:r>
            <a:r>
              <a:rPr lang="ru-RU" sz="1600" b="0" dirty="0" smtClean="0"/>
              <a:t>Микро» и «Малый»</a:t>
            </a:r>
            <a:endParaRPr lang="ru-RU" sz="1600" b="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510032" y="6524830"/>
            <a:ext cx="180296" cy="18757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746829"/>
            <a:ext cx="8448532" cy="5617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70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763124"/>
            <a:ext cx="7376109" cy="570654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1.2. Порядок </a:t>
            </a:r>
            <a:r>
              <a:rPr lang="ru-RU" sz="1600" dirty="0"/>
              <a:t>взаимодействия участников НГС в рамках приема и обработки заявок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b="0" dirty="0" smtClean="0"/>
              <a:t>Сегмент «Нижний средний»</a:t>
            </a:r>
            <a:endParaRPr lang="ru-RU" sz="1600" b="0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510032" y="6524830"/>
            <a:ext cx="180296" cy="18757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2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t="872" r="90411"/>
          <a:stretch/>
        </p:blipFill>
        <p:spPr>
          <a:xfrm>
            <a:off x="292100" y="5788025"/>
            <a:ext cx="691125" cy="681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89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1.3. Порядок </a:t>
            </a:r>
            <a:r>
              <a:rPr lang="ru-RU" sz="1600" dirty="0"/>
              <a:t>взаимодействия участников НГС в рамках приема и обработки заявок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b="0" dirty="0" smtClean="0"/>
              <a:t>Сегмент «Средний»</a:t>
            </a:r>
            <a:endParaRPr lang="ru-RU" sz="1600" b="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t="872" r="90411"/>
          <a:stretch/>
        </p:blipFill>
        <p:spPr>
          <a:xfrm>
            <a:off x="298450" y="5826816"/>
            <a:ext cx="678783" cy="669471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9510032" y="6524830"/>
            <a:ext cx="180296" cy="18757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3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450" y="763123"/>
            <a:ext cx="7442092" cy="5733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887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2edrJr0u8xjJS5wFwE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950</TotalTime>
  <Words>1267</Words>
  <Application>Microsoft Office PowerPoint</Application>
  <PresentationFormat>Лист A4 (210x297 мм)</PresentationFormat>
  <Paragraphs>180</Paragraphs>
  <Slides>1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Title</vt:lpstr>
      <vt:lpstr>Технологические требования  предоставления независимых гарантий, банковских гарантий и поручительств  в рамках Национальной гарантийной системы (НГС)   Апрель 2016</vt:lpstr>
      <vt:lpstr>Структура Технологических требований</vt:lpstr>
      <vt:lpstr>Определение Центров приема и обработки входящего потока заявок</vt:lpstr>
      <vt:lpstr>Описание сегментов</vt:lpstr>
      <vt:lpstr>Критерии для РГО в части обеспечения допуска для работы в «Нижнем среднем сегменте»</vt:lpstr>
      <vt:lpstr>Приложения</vt:lpstr>
      <vt:lpstr>1.1. Порядок взаимодействия участников НГС в рамках приема и обработки заявок  Сегменты «Микро» и «Малый»</vt:lpstr>
      <vt:lpstr>1.2. Порядок взаимодействия участников НГС в рамках приема и обработки заявок  Сегмент «Нижний средний»</vt:lpstr>
      <vt:lpstr>1.3. Порядок взаимодействия участников НГС в рамках приема и обработки заявок  Сегмент «Средний»</vt:lpstr>
      <vt:lpstr>1.4.1. Порядок взаимодействия участников НГС в рамках приема и обработки заявок  Сегмент «Средний» | Обработка заявки в рамках оферты. Часть 1/2</vt:lpstr>
      <vt:lpstr>1.4.2. Порядок взаимодействия участников НГС в рамках приема и обработки заявок  Сегмент «Средний» | Обработка заявки в рамках оферты. Часть 2/2</vt:lpstr>
      <vt:lpstr>2. Матрица подбора гарантийных продуктов Корпорации и МСП Банка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Волкова Елена Дмитриевна</cp:lastModifiedBy>
  <cp:revision>4625</cp:revision>
  <cp:lastPrinted>2016-04-21T07:35:22Z</cp:lastPrinted>
  <dcterms:created xsi:type="dcterms:W3CDTF">2010-08-23T12:41:44Z</dcterms:created>
  <dcterms:modified xsi:type="dcterms:W3CDTF">2016-04-21T07:38:46Z</dcterms:modified>
</cp:coreProperties>
</file>